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125" d="100"/>
          <a:sy n="125" d="100"/>
        </p:scale>
        <p:origin x="802" y="-3422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3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xmlns="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xmlns="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xmlns="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xmlns="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xmlns="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xmlns="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xmlns="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29D9C47A-BE7B-A141-9A12-F042EE60E847}"/>
              </a:ext>
            </a:extLst>
          </p:cNvPr>
          <p:cNvSpPr txBox="1"/>
          <p:nvPr/>
        </p:nvSpPr>
        <p:spPr>
          <a:xfrm>
            <a:off x="79690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800" b="1" dirty="0" smtClean="0">
                <a:solidFill>
                  <a:schemeClr val="bg1"/>
                </a:solidFill>
                <a:latin typeface="Gotham HTF Black" pitchFamily="2" charset="77"/>
              </a:rPr>
              <a:t>CUT-THROUGH</a:t>
            </a:r>
            <a:r>
              <a:rPr lang="zh-CN" altLang="en-US" sz="2800" b="1" dirty="0" smtClean="0">
                <a:solidFill>
                  <a:schemeClr val="bg1"/>
                </a:solidFill>
                <a:latin typeface="Gotham HTF Black" pitchFamily="2" charset="77"/>
              </a:rPr>
              <a:t>（直通）</a:t>
            </a:r>
            <a: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  <a:t/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zh-CN" altLang="en-US" sz="3600" dirty="0" smtClean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说明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xmlns="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xmlns="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xmlns="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xmlns="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xmlns="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xmlns="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zh-CN" altLang="en-US" sz="1600" dirty="0" smtClean="0">
                <a:solidFill>
                  <a:schemeClr val="bg2"/>
                </a:solidFill>
                <a:latin typeface="Gotham HTF" pitchFamily="2" charset="77"/>
              </a:rPr>
              <a:t>发送</a:t>
            </a: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/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 smtClean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zh-CN" altLang="en-US" sz="1050" dirty="0" smtClean="0">
                <a:solidFill>
                  <a:schemeClr val="bg2"/>
                </a:solidFill>
                <a:latin typeface="Gotham HTF" pitchFamily="2" charset="77"/>
              </a:rPr>
              <a:t>输入</a:t>
            </a:r>
            <a:r>
              <a:rPr lang="en-US" sz="1050" dirty="0" smtClean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zh-CN" altLang="en-US" sz="1600" dirty="0" smtClean="0">
                <a:solidFill>
                  <a:schemeClr val="bg2"/>
                </a:solidFill>
                <a:latin typeface="Gotham HTF" pitchFamily="2" charset="77"/>
              </a:rPr>
              <a:t>接收</a:t>
            </a: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/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 smtClean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zh-CN" altLang="en-US" sz="1050" dirty="0" smtClean="0">
                <a:solidFill>
                  <a:schemeClr val="bg2"/>
                </a:solidFill>
                <a:latin typeface="Gotham HTF" pitchFamily="2" charset="77"/>
              </a:rPr>
              <a:t>输出</a:t>
            </a:r>
            <a:r>
              <a:rPr lang="en-US" sz="1050" dirty="0" smtClean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zh-CN" altLang="en-US" sz="1600" b="1" dirty="0" smtClean="0">
                <a:solidFill>
                  <a:schemeClr val="bg2"/>
                </a:solidFill>
                <a:latin typeface="Gotham HTF" pitchFamily="2" charset="77"/>
              </a:rPr>
              <a:t>交易</a:t>
            </a:r>
            <a:r>
              <a:rPr lang="en-US" sz="1200" b="1" dirty="0" smtClean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2C761240-2F89-544F-AC7A-7A0870EF439A}"/>
              </a:ext>
            </a:extLst>
          </p:cNvPr>
          <p:cNvSpPr txBox="1"/>
          <p:nvPr/>
        </p:nvSpPr>
        <p:spPr>
          <a:xfrm>
            <a:off x="2610989" y="4174279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zh-CN" altLang="en-US" sz="1600" b="1" dirty="0">
                <a:solidFill>
                  <a:schemeClr val="bg2"/>
                </a:solidFill>
                <a:latin typeface="Gotham HTF" pitchFamily="2" charset="77"/>
              </a:rPr>
              <a:t>交易</a:t>
            </a:r>
            <a:r>
              <a:rPr lang="en-US" b="1" dirty="0" smtClean="0">
                <a:solidFill>
                  <a:schemeClr val="bg1"/>
                </a:solidFill>
                <a:latin typeface="Gotham HTF" pitchFamily="2" charset="77"/>
              </a:rPr>
              <a:t>#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zh-CN" altLang="en-US" sz="1600" b="1" dirty="0">
                <a:solidFill>
                  <a:schemeClr val="bg2"/>
                </a:solidFill>
                <a:latin typeface="Gotham HTF" pitchFamily="2" charset="77"/>
              </a:rPr>
              <a:t>交易</a:t>
            </a:r>
            <a:r>
              <a:rPr lang="en-US" b="1" dirty="0" smtClean="0">
                <a:solidFill>
                  <a:schemeClr val="bg1"/>
                </a:solidFill>
                <a:latin typeface="Gotham HTF" pitchFamily="2" charset="77"/>
              </a:rPr>
              <a:t>#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xmlns="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xmlns="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xmlns="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Steve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向 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Annie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发送了一些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 EPIC, 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Annie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向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 Ralph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发送</a:t>
            </a: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了一些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EPIC, 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Ralph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向 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Anuj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发送</a:t>
            </a: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了一些</a:t>
            </a:r>
            <a:r>
              <a:rPr lang="en-US" altLang="zh-CN" sz="1000" dirty="0">
                <a:solidFill>
                  <a:schemeClr val="bg2"/>
                </a:solidFill>
                <a:latin typeface="Gotham HTF" pitchFamily="2" charset="77"/>
              </a:rPr>
              <a:t> EPIC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. CUT-THROUGH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（直通）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会删除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发送和相应匹配的接收信息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，而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不会将详细的交易信息保留</a:t>
            </a: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在区块链上</a:t>
            </a:r>
            <a:r>
              <a:rPr lang="en-US" sz="1000" dirty="0" smtClean="0">
                <a:solidFill>
                  <a:schemeClr val="bg2"/>
                </a:solidFill>
                <a:latin typeface="Gotham HTF" pitchFamily="2" charset="77"/>
              </a:rPr>
              <a:t>.</a:t>
            </a:r>
            <a:endParaRPr lang="en-US" sz="1000" dirty="0">
              <a:solidFill>
                <a:schemeClr val="bg2"/>
              </a:solidFill>
              <a:latin typeface="Gotham HTF" pitchFamily="2" charset="77"/>
            </a:endParaRPr>
          </a:p>
          <a:p>
            <a:pPr algn="just">
              <a:spcAft>
                <a:spcPts val="400"/>
              </a:spcAft>
            </a:pP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将保留交易发生的跟踪记录，以及剩余的不匹配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的发送和</a:t>
            </a: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接收记录。这是一个天才的想法，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更多匹配的发送和接收记录将导致史诗</a:t>
            </a: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区块链越来越小。 </a:t>
            </a:r>
            <a:endParaRPr lang="en-US" altLang="zh-CN" sz="1000" dirty="0" smtClean="0">
              <a:solidFill>
                <a:schemeClr val="bg2"/>
              </a:solidFill>
              <a:latin typeface="Gotham HTF" pitchFamily="2" charset="77"/>
            </a:endParaRPr>
          </a:p>
          <a:p>
            <a:pPr algn="just">
              <a:spcAft>
                <a:spcPts val="400"/>
              </a:spcAft>
            </a:pP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另一个好处是，它可以在未来使取证链不</a:t>
            </a:r>
            <a:r>
              <a:rPr lang="zh-CN" altLang="en-US" sz="1000" dirty="0" smtClean="0">
                <a:solidFill>
                  <a:schemeClr val="bg2"/>
                </a:solidFill>
                <a:latin typeface="Gotham HTF" pitchFamily="2" charset="77"/>
              </a:rPr>
              <a:t>受审计分析</a:t>
            </a:r>
            <a:r>
              <a:rPr lang="zh-CN" altLang="en-US" sz="1000" dirty="0">
                <a:solidFill>
                  <a:schemeClr val="bg2"/>
                </a:solidFill>
                <a:latin typeface="Gotham HTF" pitchFamily="2" charset="77"/>
              </a:rPr>
              <a:t>的影响。 如果交易数据不存在，将无法恢复！</a:t>
            </a:r>
            <a:endParaRPr lang="en-US" sz="1000" dirty="0">
              <a:solidFill>
                <a:schemeClr val="bg2"/>
              </a:solidFill>
              <a:latin typeface="Gotham HTF" pitchFamily="2" charset="77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xmlns="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66</TotalTime>
  <Words>150</Words>
  <Application>Microsoft Office PowerPoint</Application>
  <PresentationFormat>信纸(8.5x11 英寸)</PresentationFormat>
  <Paragraphs>16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Gotham HTF</vt:lpstr>
      <vt:lpstr>Gotham HTF Black</vt:lpstr>
      <vt:lpstr>Gotham HTF Book</vt:lpstr>
      <vt:lpstr>等线</vt:lpstr>
      <vt:lpstr>Arial</vt:lpstr>
      <vt:lpstr>Calibri</vt:lpstr>
      <vt:lpstr>Office Theme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万厚伟</cp:lastModifiedBy>
  <cp:revision>53</cp:revision>
  <cp:lastPrinted>2020-07-19T12:20:33Z</cp:lastPrinted>
  <dcterms:created xsi:type="dcterms:W3CDTF">2020-07-14T13:42:50Z</dcterms:created>
  <dcterms:modified xsi:type="dcterms:W3CDTF">2021-03-21T12:29:05Z</dcterms:modified>
</cp:coreProperties>
</file>